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1960" r:id="rId3"/>
    <p:sldId id="1936" r:id="rId4"/>
    <p:sldId id="1938" r:id="rId5"/>
    <p:sldId id="1942" r:id="rId6"/>
    <p:sldId id="1965" r:id="rId7"/>
    <p:sldId id="1943" r:id="rId8"/>
    <p:sldId id="1944" r:id="rId9"/>
    <p:sldId id="1948" r:id="rId10"/>
    <p:sldId id="1966" r:id="rId11"/>
    <p:sldId id="1961" r:id="rId12"/>
    <p:sldId id="1950" r:id="rId13"/>
    <p:sldId id="1967" r:id="rId14"/>
    <p:sldId id="1951" r:id="rId15"/>
    <p:sldId id="196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BD64D1-83BE-CBB4-F3B0-0601FD7424AB}" name="Adelia Januarto" initials="AJ" userId="0c2561ee7d72797c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3EC3"/>
    <a:srgbClr val="213C8E"/>
    <a:srgbClr val="2FA3DA"/>
    <a:srgbClr val="0098A7"/>
    <a:srgbClr val="2F6E7A"/>
    <a:srgbClr val="F5F5F5"/>
    <a:srgbClr val="7FBFC9"/>
    <a:srgbClr val="070707"/>
    <a:srgbClr val="020202"/>
    <a:srgbClr val="037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60"/>
    <p:restoredTop sz="95827"/>
  </p:normalViewPr>
  <p:slideViewPr>
    <p:cSldViewPr snapToGrid="0" snapToObjects="1">
      <p:cViewPr varScale="1">
        <p:scale>
          <a:sx n="107" d="100"/>
          <a:sy n="107" d="100"/>
        </p:scale>
        <p:origin x="70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928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C718D7-DC7A-744E-940F-92211BC73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0F84A9-562D-F248-BBAF-8A1BBBCD3B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DBF45-B23F-EE4A-8BC2-A5A04FA3FC98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E03ACC-8486-344B-A329-CA64D0C740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F28E02-73BB-3D4D-AEDD-249BFBB08B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757823-73C4-184D-B256-1476D0436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942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D5FC9A-FA52-6141-90EE-A603A290A5E6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04BEB9-6AD8-DB44-A829-6CBA5AD9D1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388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ctal Labs is a fictional company</a:t>
            </a:r>
          </a:p>
          <a:p>
            <a:r>
              <a:rPr lang="en-US" dirty="0"/>
              <a:t>Icon: https://</a:t>
            </a:r>
            <a:r>
              <a:rPr lang="en-US" dirty="0" err="1"/>
              <a:t>www.flaticon.com</a:t>
            </a:r>
            <a:r>
              <a:rPr lang="en-US" dirty="0"/>
              <a:t>/free-icon/deep-learning_8637101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02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681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012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karang</a:t>
            </a:r>
            <a:r>
              <a:rPr lang="en-US" dirty="0"/>
              <a:t> </a:t>
            </a:r>
            <a:r>
              <a:rPr lang="en-US" dirty="0" err="1"/>
              <a:t>setelah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rumus</a:t>
            </a:r>
            <a:r>
              <a:rPr lang="en-US" dirty="0"/>
              <a:t> Naive Bayes, </a:t>
            </a:r>
            <a:r>
              <a:rPr lang="en-US" dirty="0" err="1"/>
              <a:t>mari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pelajari</a:t>
            </a:r>
            <a:r>
              <a:rPr lang="en-US" dirty="0"/>
              <a:t> </a:t>
            </a:r>
            <a:r>
              <a:rPr lang="en-US" dirty="0" err="1"/>
              <a:t>aspek</a:t>
            </a:r>
            <a:r>
              <a:rPr lang="en-US" dirty="0"/>
              <a:t> </a:t>
            </a:r>
            <a:r>
              <a:rPr lang="en-US" dirty="0" err="1"/>
              <a:t>penting</a:t>
            </a:r>
            <a:r>
              <a:rPr lang="en-US" dirty="0"/>
              <a:t> </a:t>
            </a:r>
            <a:r>
              <a:rPr lang="en-US" dirty="0" err="1"/>
              <a:t>lainnya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interpretasi</a:t>
            </a:r>
            <a:r>
              <a:rPr lang="en-US" dirty="0"/>
              <a:t> model </a:t>
            </a:r>
            <a:r>
              <a:rPr lang="en-US" dirty="0" err="1"/>
              <a:t>kita</a:t>
            </a:r>
            <a:r>
              <a:rPr lang="en-US" dirty="0"/>
              <a:t>: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bagaimana</a:t>
            </a:r>
            <a:r>
              <a:rPr lang="en-US" dirty="0"/>
              <a:t>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</a:t>
            </a:r>
            <a:r>
              <a:rPr lang="en-US" dirty="0" err="1"/>
              <a:t>ditentukan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</a:t>
            </a:r>
            <a:r>
              <a:rPr lang="en-US" dirty="0" err="1"/>
              <a:t>kepentingan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,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mperoleh</a:t>
            </a:r>
            <a:r>
              <a:rPr lang="en-US" dirty="0"/>
              <a:t> insight yang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endalam</a:t>
            </a:r>
            <a:r>
              <a:rPr lang="en-US" dirty="0"/>
              <a:t> </a:t>
            </a:r>
            <a:r>
              <a:rPr lang="en-US" dirty="0" err="1"/>
              <a:t>tentang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mana yang paling </a:t>
            </a:r>
            <a:r>
              <a:rPr lang="en-US" dirty="0" err="1"/>
              <a:t>berpengaruh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proses </a:t>
            </a:r>
            <a:r>
              <a:rPr lang="en-US" dirty="0" err="1"/>
              <a:t>pemodelan</a:t>
            </a:r>
            <a:r>
              <a:rPr lang="en-US" dirty="0"/>
              <a:t> </a:t>
            </a:r>
            <a:r>
              <a:rPr lang="en-US" dirty="0" err="1"/>
              <a:t>prediktif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9013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2001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250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59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423C4E-3A47-FD46-B640-791D19961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283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367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423C4E-3A47-FD46-B640-791D1996156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57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2958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24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C plot: visualizes classification model’s performance in different thresholds (rat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UC: how well a model can distinguish between clas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63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38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28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DBF37-47C4-D945-A0D2-B7912D394A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580B0A-FBA4-804B-A3B9-6D405464E9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7F797E-3580-5449-B05E-BB7B48F69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BC1AC-9027-CD42-BA8C-D711F192EA8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6CC794-37EE-024A-A9AD-EA6470548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B7C895-A438-824B-8CF6-C25FB2F3A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8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60C7E-F598-8D4E-B2B1-B1F3C926B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765BB7-03B8-4A40-914D-217B5C9974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82870D-3DE5-B249-B9B5-5E20028B8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939AB-50A0-9245-8A75-0EB09FFFC80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91CB5-F2C9-F944-B068-F88492623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160A4-4637-DA49-9F22-C53AAB9AF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14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FD598F-9E73-6D42-8CC9-690D8EFDB3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061358-AEA2-8A4A-A27F-6F08463675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6BEC60-A239-A145-8309-491315A54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32A59-8EA9-124D-9120-F2415F6551E7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87610A-CC11-6F4B-AD0D-74AB16B01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C69DF-FAF3-EC4C-BCD3-B8C24AB7E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6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7B192-3DFF-8643-8203-34DB53466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E7270-1334-9D45-8C2E-F37745CB17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C07639-F798-3040-94CA-829592796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03375-62FC-7249-9E39-72AC6EE53E46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6D49E-C8CF-D043-9799-053573A07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4AA15-0832-0E4F-90A6-6550A2412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842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E0543-4B6C-4944-A4C8-FE92E49C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BB9D0-D229-5744-9894-2B4CD7D7C1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6225-1232-FA45-BB99-5509A7FA8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00AE2-6A40-334F-B1F1-5BCED9F859F5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A60916-9507-6940-9B8E-1AC84C38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B4EB6-06BE-344C-8D26-BA1A39F91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50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59CF1-ADE3-B04B-A2A2-746A42295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90F77-034A-3C4C-91C2-0F4834CAA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B8956D-1C9D-B34F-9D51-6EF879BE9C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43D0DB-8334-474B-8630-161820B7A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0A3F90-84C7-154D-A916-E0AB59D45C39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677738-EA0F-8A4A-935D-9FF1B1711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00CF-A3E8-5A41-B817-3700838E0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92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2C726-453B-AB4B-AF9E-969A922AE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63DBD-266D-014A-AD6E-97EDF19150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74E64F-9461-F94E-94F1-DE89FEF205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1759FE-3800-FC4D-811E-F806D814A4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B472-B433-E942-8ED4-BAF1BE5BCF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DBEAB3-FFAB-524F-9E90-72B0F0CE1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3929F-3A4A-7349-8E57-31AFAB25CCB9}" type="datetime1">
              <a:rPr lang="en-ID" smtClean="0"/>
              <a:t>26/0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1C06B-AD46-514F-BF07-BE55D71F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C32EA0-DC4E-3B44-A72B-212241862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584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FEFE8-80FF-A84F-92F7-EA4DC1538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475EFE-F275-6D43-AD6F-8CD950BF0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9F96F-8344-A442-9C09-E9514BB9C1E3}" type="datetime1">
              <a:rPr lang="en-ID" smtClean="0"/>
              <a:t>26/0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79682-3217-6644-98B3-4E6FCECA6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C2851A-3920-D946-8660-2F06E52B2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14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EA0A60-3690-0F4C-B064-CAA72D727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D16CE-E12C-8B47-99EA-AAA79B06CF72}" type="datetime1">
              <a:rPr lang="en-ID" smtClean="0"/>
              <a:t>26/0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26B42-4E79-FE4A-BAAE-C96B3415E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C9BCB-3A06-9744-9671-DB09E2884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4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BD55-E1FE-D34E-BA94-28D9AD9A5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BD6E4-BB22-964B-9AAE-F51C2100D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D394FD-B657-504E-836F-7C8065C3EB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CDDBF9-6D6A-B647-BEBC-770D439AE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7C161-8304-5846-AD51-21CB49911A81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C4A036-7821-0B42-AD5A-CE58C799A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1263D3-C6AF-D049-8F2B-0C3DEB0BF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479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DBFA8-FFAB-5F47-9FD9-D1E65EBCC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6575A9-C987-F249-A4BA-E558D89D2E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71949-B4D6-AD40-8A2E-C65DB4B9F8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FA904-5375-DE42-961E-814F43A17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8FA3E-6B92-3848-A7FC-01673A33629E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A441D3-08A2-094B-9A04-063FBE5E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677F17-69AC-0547-A8FE-121868DBC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188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A102BE-E20E-2342-9F7B-7356CF07B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868869-6BDE-E544-8524-09E0FE88D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9D182-C518-BA4B-BC09-41E103F9F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D6D92-345B-3E4A-8B30-19FCA361F2CC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519AA-34EA-7848-8A46-589953F4EF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E7D11-D0F2-264F-8720-51084513A5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643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DC288-B009-AE41-82AB-57408B5F1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3500" y="939114"/>
            <a:ext cx="7464511" cy="2226659"/>
          </a:xfrm>
        </p:spPr>
        <p:txBody>
          <a:bodyPr>
            <a:noAutofit/>
          </a:bodyPr>
          <a:lstStyle/>
          <a:p>
            <a:pPr algn="l"/>
            <a:r>
              <a:rPr lang="en-US" sz="3600" dirty="0"/>
              <a:t>Predicting Hotel Booking Cancellations to Minimize Revenue Loss due to False Negatives</a:t>
            </a:r>
            <a:r>
              <a:rPr lang="en-US" sz="3600" baseline="30000" dirty="0"/>
              <a:t>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BECCB-7CAC-6C45-8E5E-9CBFE60A9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3500" y="3692228"/>
            <a:ext cx="2235200" cy="660400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/>
              <a:t>Adelia Januart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C99B0F8-CE30-0C4A-B7DA-D1FB88B98F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077246"/>
            <a:ext cx="1092200" cy="365125"/>
          </a:xfrm>
        </p:spPr>
        <p:txBody>
          <a:bodyPr/>
          <a:lstStyle/>
          <a:p>
            <a:fld id="{01C28452-8962-7D47-839A-BAF00F7A86D2}" type="datetime5">
              <a:rPr lang="en-ID" smtClean="0"/>
              <a:t>26-May-2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4E4B62-7DE8-FC42-B428-21F659B55A82}"/>
              </a:ext>
            </a:extLst>
          </p:cNvPr>
          <p:cNvSpPr txBox="1"/>
          <p:nvPr/>
        </p:nvSpPr>
        <p:spPr>
          <a:xfrm>
            <a:off x="8928102" y="5936642"/>
            <a:ext cx="26503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model predicts that the booking will not be canceled, but in reality, the booking is canceled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19875BD-FD2F-BC4E-A153-DCA651030747}"/>
              </a:ext>
            </a:extLst>
          </p:cNvPr>
          <p:cNvSpPr txBox="1">
            <a:spLocks/>
          </p:cNvSpPr>
          <p:nvPr/>
        </p:nvSpPr>
        <p:spPr>
          <a:xfrm>
            <a:off x="1333499" y="3987503"/>
            <a:ext cx="2674829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Analys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445D67-A80B-0F45-8139-C4CE2621FB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8011" y="2486838"/>
            <a:ext cx="2410779" cy="24107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3780A6B-BE49-8141-A54D-FEE8870F501C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9978E9-CD36-9748-A72A-F39A8EC1CF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819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0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670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070" y="553118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How the model (Naïve Bayes model) work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1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6" y="1786109"/>
            <a:ext cx="5200839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ive Bayes Classifier works by applying Bayes' Theorem with the assumption that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are independen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aïve)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alculates the probability of each class given the input features and predicts the class with the highest probability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thod is simple and fast for many types of classification task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67669" y="1860926"/>
            <a:ext cx="5273421" cy="19866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 | Features): probability of a booking being canceled given observed features (e.g., customer type)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 | Canceled): probability of observing features given the booking was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): prior probability of a booking being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): probability of observing the feat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DF8845-2F1C-F74B-8A9E-9F930C4E40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95" t="12500" r="15911" b="18452"/>
          <a:stretch/>
        </p:blipFill>
        <p:spPr>
          <a:xfrm>
            <a:off x="1067860" y="3429000"/>
            <a:ext cx="4722565" cy="115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0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mutation importa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8190398" cy="46736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parking spaces has the highest importance in NB predi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utation importance checks the relative importance of each feature in making predic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works by shuffling feature values and observing changes in model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`</a:t>
            </a:r>
            <a:r>
              <a:rPr lang="en-US" sz="1400" b="1" dirty="0" err="1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_car_parking_spaces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 has the highest importa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uggesting that the number of parking spaces required by a guest is the strongest predictor of cancellation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1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9C9BDCB-8BF4-8A4D-9B13-1319B6ABC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630" y="2052281"/>
            <a:ext cx="6551923" cy="398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34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3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4</a:t>
            </a:r>
            <a:endParaRPr lang="en-US" sz="48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33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mplic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4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ode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677252" y="4597973"/>
            <a:ext cx="5248534" cy="166002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 (Type I error): actual 0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0 x $67.5 = $17,55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 (Type II error): actual 1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x $99 = $2,9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20,520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347411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e 60% incorrect predictions with FP of 20% and FN 40%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: 0.2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4 bookings x $67.5 = $13,7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: 0.4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8 bookings x $99 = $40,394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54,16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80AA4C4-3AD4-4B4E-8369-AD4BFCC4E2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96"/>
          <a:stretch/>
        </p:blipFill>
        <p:spPr>
          <a:xfrm>
            <a:off x="1995328" y="1855961"/>
            <a:ext cx="3063560" cy="27538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55B9B4-E5E4-2840-BCB5-14752252E453}"/>
              </a:ext>
            </a:extLst>
          </p:cNvPr>
          <p:cNvSpPr txBox="1"/>
          <p:nvPr/>
        </p:nvSpPr>
        <p:spPr>
          <a:xfrm>
            <a:off x="3776353" y="2134736"/>
            <a:ext cx="409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BD6097-EA55-E04A-84BD-66D51FF24DB3}"/>
              </a:ext>
            </a:extLst>
          </p:cNvPr>
          <p:cNvSpPr txBox="1"/>
          <p:nvPr/>
        </p:nvSpPr>
        <p:spPr>
          <a:xfrm>
            <a:off x="2628387" y="2133112"/>
            <a:ext cx="445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915458-E723-B84A-8F1C-1E9BC08FBEF7}"/>
              </a:ext>
            </a:extLst>
          </p:cNvPr>
          <p:cNvSpPr txBox="1"/>
          <p:nvPr/>
        </p:nvSpPr>
        <p:spPr>
          <a:xfrm>
            <a:off x="3776353" y="385859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46B281-3B13-F94E-B356-170909460771}"/>
              </a:ext>
            </a:extLst>
          </p:cNvPr>
          <p:cNvSpPr txBox="1"/>
          <p:nvPr/>
        </p:nvSpPr>
        <p:spPr>
          <a:xfrm>
            <a:off x="2628387" y="3856967"/>
            <a:ext cx="439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A7F66D-C2FE-CC47-8A9D-EC930E3CC5AC}"/>
              </a:ext>
            </a:extLst>
          </p:cNvPr>
          <p:cNvSpPr/>
          <p:nvPr/>
        </p:nvSpPr>
        <p:spPr>
          <a:xfrm>
            <a:off x="6352522" y="5221944"/>
            <a:ext cx="5273421" cy="691584"/>
          </a:xfrm>
          <a:prstGeom prst="rect">
            <a:avLst/>
          </a:prstGeom>
          <a:solidFill>
            <a:schemeClr val="bg1"/>
          </a:solidFill>
          <a:ln w="19050">
            <a:solidFill>
              <a:srgbClr val="1C3E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20000"/>
              </a:lnSpc>
            </a:pP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ctr">
              <a:lnSpc>
                <a:spcPct val="120000"/>
              </a:lnSpc>
            </a:pPr>
            <a:r>
              <a:rPr lang="en-US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54,162 - $20,520 = $33,642 saved by the model</a:t>
            </a:r>
          </a:p>
        </p:txBody>
      </p:sp>
    </p:spTree>
    <p:extLst>
      <p:ext uri="{BB962C8B-B14F-4D97-AF65-F5344CB8AC3E}">
        <p14:creationId xmlns:p14="http://schemas.microsoft.com/office/powerpoint/2010/main" val="4191406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5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7" y="1786109"/>
            <a:ext cx="4883722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project aims to develop a machine learning classification model to predict hotel booking cancellations with a main focus of minimizing False Negative (Type II Error)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ries of machine learning experiments on the hotel's historical data have been carried out to find the best model in achieving such goa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ng these experiments, Naïve Bayes algorithm performs the best to predict hotel cancellations with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del can help catch some cancellations that might have been missed before.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knowing which bookings are more likely to cancel, the hotel can avoid wasting staff, supplies or preparing rooms that might not be needed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2868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el manager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model predictions to proactively manage bookings (e.g., reminding guests about their stays or offering deals to keep them from cancelling) and optimize resource allocation based on cancella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metrics to see if the model improves hotel operations (consider A/B testing).</a:t>
            </a:r>
          </a:p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irection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data quality by double-checking the sour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with different model configurations to potentially achieve a better performing mode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58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2082C44-6B1E-AE4C-B11F-FDE7773B6DF6}"/>
              </a:ext>
            </a:extLst>
          </p:cNvPr>
          <p:cNvSpPr/>
          <p:nvPr/>
        </p:nvSpPr>
        <p:spPr>
          <a:xfrm>
            <a:off x="6240218" y="1265134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entagon 31">
            <a:extLst>
              <a:ext uri="{FF2B5EF4-FFF2-40B4-BE49-F238E27FC236}">
                <a16:creationId xmlns:a16="http://schemas.microsoft.com/office/drawing/2014/main" id="{DEE73C66-42F3-82E4-3BA2-37D9128BDC71}"/>
              </a:ext>
            </a:extLst>
          </p:cNvPr>
          <p:cNvSpPr/>
          <p:nvPr/>
        </p:nvSpPr>
        <p:spPr>
          <a:xfrm>
            <a:off x="458786" y="1252433"/>
            <a:ext cx="5965163" cy="5013150"/>
          </a:xfrm>
          <a:prstGeom prst="homePlate">
            <a:avLst>
              <a:gd name="adj" fmla="val 13411"/>
            </a:avLst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03998" bIns="108000" rtlCol="0" anchor="t"/>
          <a:lstStyle/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5A220A43-74B8-BDB3-00DB-6A12085D8EAD}"/>
              </a:ext>
            </a:extLst>
          </p:cNvPr>
          <p:cNvSpPr/>
          <p:nvPr/>
        </p:nvSpPr>
        <p:spPr>
          <a:xfrm>
            <a:off x="459068" y="1240558"/>
            <a:ext cx="5403016" cy="401289"/>
          </a:xfrm>
          <a:custGeom>
            <a:avLst/>
            <a:gdLst>
              <a:gd name="connsiteX0" fmla="*/ 0 w 5440388"/>
              <a:gd name="connsiteY0" fmla="*/ 0 h 401289"/>
              <a:gd name="connsiteX1" fmla="*/ 5332754 w 5440388"/>
              <a:gd name="connsiteY1" fmla="*/ 0 h 401289"/>
              <a:gd name="connsiteX2" fmla="*/ 5440388 w 5440388"/>
              <a:gd name="connsiteY2" fmla="*/ 401289 h 401289"/>
              <a:gd name="connsiteX3" fmla="*/ 0 w 5440388"/>
              <a:gd name="connsiteY3" fmla="*/ 401289 h 40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0388" h="401289">
                <a:moveTo>
                  <a:pt x="0" y="0"/>
                </a:moveTo>
                <a:lnTo>
                  <a:pt x="5332754" y="0"/>
                </a:lnTo>
                <a:lnTo>
                  <a:pt x="5440388" y="401289"/>
                </a:lnTo>
                <a:lnTo>
                  <a:pt x="0" y="40128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he problem i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86FDBE-4A5E-6240-8794-8C05A5D13509}"/>
              </a:ext>
            </a:extLst>
          </p:cNvPr>
          <p:cNvSpPr txBox="1">
            <a:spLocks/>
          </p:cNvSpPr>
          <p:nvPr/>
        </p:nvSpPr>
        <p:spPr>
          <a:xfrm>
            <a:off x="431434" y="559498"/>
            <a:ext cx="11278488" cy="5683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e challenge now is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8DE271-6DE3-3B41-852E-2CE9842A3167}"/>
              </a:ext>
            </a:extLst>
          </p:cNvPr>
          <p:cNvSpPr/>
          <p:nvPr/>
        </p:nvSpPr>
        <p:spPr>
          <a:xfrm>
            <a:off x="593766" y="2256319"/>
            <a:ext cx="961902" cy="29694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A0460E36-D24A-1946-94E6-B42D43587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073C6A-97B6-D54D-A6D7-168F33EF41D0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E3D688-61F4-D84B-848A-1DEFC48442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30B7940-CBFC-C64A-8A61-06956152BD5B}"/>
              </a:ext>
            </a:extLst>
          </p:cNvPr>
          <p:cNvSpPr/>
          <p:nvPr/>
        </p:nvSpPr>
        <p:spPr>
          <a:xfrm>
            <a:off x="475451" y="3475495"/>
            <a:ext cx="5643479" cy="139380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ing a classification model to predict hotel booking cancellation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e historical booking data to classify bookings as “Canceled” and “Not Canceled”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1D5DC2-493E-E78D-5E4C-6CD8DE63F86B}"/>
              </a:ext>
            </a:extLst>
          </p:cNvPr>
          <p:cNvSpPr/>
          <p:nvPr/>
        </p:nvSpPr>
        <p:spPr>
          <a:xfrm>
            <a:off x="475450" y="1668016"/>
            <a:ext cx="5549299" cy="19252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ity industry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s significant revenue los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inefficienc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booking cancellations (</a:t>
            </a:r>
            <a:r>
              <a:rPr lang="en-US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cancellations in advance allows for proactive mitigation of negative impact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itional methods (e.g., historical data analysis) are labor intensive and often unreliable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977BC3-2116-C345-A0BE-24B9629C19EA}"/>
              </a:ext>
            </a:extLst>
          </p:cNvPr>
          <p:cNvSpPr/>
          <p:nvPr/>
        </p:nvSpPr>
        <p:spPr>
          <a:xfrm>
            <a:off x="6240217" y="1252433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 metric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F60F10-AEF5-F04D-B80D-65C39F43B16F}"/>
              </a:ext>
            </a:extLst>
          </p:cNvPr>
          <p:cNvSpPr/>
          <p:nvPr/>
        </p:nvSpPr>
        <p:spPr>
          <a:xfrm>
            <a:off x="6195603" y="1753739"/>
            <a:ext cx="5444274" cy="197686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identifying a booking as canceled can lead to unnecessary compensation for room upgrade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loss per false positive: $10 to $67.5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,000 to $6,7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BD3680-4CB1-7546-A859-64011582FA47}"/>
              </a:ext>
            </a:extLst>
          </p:cNvPr>
          <p:cNvSpPr/>
          <p:nvPr/>
        </p:nvSpPr>
        <p:spPr>
          <a:xfrm>
            <a:off x="6240218" y="3389392"/>
            <a:ext cx="544427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predicting a cancellation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loss per false negative: $99 per night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9,90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4E8B2E-4E8D-5B4E-A644-354E433BE485}"/>
              </a:ext>
            </a:extLst>
          </p:cNvPr>
          <p:cNvSpPr/>
          <p:nvPr/>
        </p:nvSpPr>
        <p:spPr>
          <a:xfrm>
            <a:off x="6240218" y="4786910"/>
            <a:ext cx="546970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ic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ly focus on mitigating the impact of false negatives (Type II errors) due to higher financial risk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mphasis on recall to reduce Type II errors) will be used to evaluate the model’s performance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49BFF9-E4D9-D349-9EE4-F464F4E871CC}"/>
              </a:ext>
            </a:extLst>
          </p:cNvPr>
          <p:cNvSpPr/>
          <p:nvPr/>
        </p:nvSpPr>
        <p:spPr>
          <a:xfrm>
            <a:off x="431434" y="4781316"/>
            <a:ext cx="5643479" cy="90730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 approach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 predictive model to assist the hotel in forecasting the likelihood of booking cancellations</a:t>
            </a:r>
          </a:p>
        </p:txBody>
      </p:sp>
    </p:spTree>
    <p:extLst>
      <p:ext uri="{BB962C8B-B14F-4D97-AF65-F5344CB8AC3E}">
        <p14:creationId xmlns:p14="http://schemas.microsoft.com/office/powerpoint/2010/main" val="2455532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3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3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tangle 122">
            <a:extLst>
              <a:ext uri="{FF2B5EF4-FFF2-40B4-BE49-F238E27FC236}">
                <a16:creationId xmlns:a16="http://schemas.microsoft.com/office/drawing/2014/main" id="{A6D3EEB2-B5C5-A541-9FB0-9D1D36DF4A52}"/>
              </a:ext>
            </a:extLst>
          </p:cNvPr>
          <p:cNvSpPr/>
          <p:nvPr/>
        </p:nvSpPr>
        <p:spPr>
          <a:xfrm>
            <a:off x="532677" y="165425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477A94B-4FD6-C24B-A256-0176BC4686C2}"/>
              </a:ext>
            </a:extLst>
          </p:cNvPr>
          <p:cNvSpPr/>
          <p:nvPr/>
        </p:nvSpPr>
        <p:spPr>
          <a:xfrm>
            <a:off x="532677" y="20573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2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C21E740-B814-3F4F-A928-DE367D993227}"/>
              </a:ext>
            </a:extLst>
          </p:cNvPr>
          <p:cNvSpPr/>
          <p:nvPr/>
        </p:nvSpPr>
        <p:spPr>
          <a:xfrm>
            <a:off x="532677" y="246046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3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84C4BFD-F8F5-B644-BC4C-EEE5D195C9B0}"/>
              </a:ext>
            </a:extLst>
          </p:cNvPr>
          <p:cNvSpPr/>
          <p:nvPr/>
        </p:nvSpPr>
        <p:spPr>
          <a:xfrm>
            <a:off x="532677" y="286357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1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3316B7A-55A3-4B47-94D7-F3B6B80B05DB}"/>
              </a:ext>
            </a:extLst>
          </p:cNvPr>
          <p:cNvSpPr/>
          <p:nvPr/>
        </p:nvSpPr>
        <p:spPr>
          <a:xfrm>
            <a:off x="532677" y="326667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4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993DB8D-E163-104E-8189-318C7ACCE504}"/>
              </a:ext>
            </a:extLst>
          </p:cNvPr>
          <p:cNvSpPr/>
          <p:nvPr/>
        </p:nvSpPr>
        <p:spPr>
          <a:xfrm>
            <a:off x="532677" y="366978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5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0535B83-2EE2-5A43-B19E-E94D11DD1508}"/>
              </a:ext>
            </a:extLst>
          </p:cNvPr>
          <p:cNvSpPr/>
          <p:nvPr/>
        </p:nvSpPr>
        <p:spPr>
          <a:xfrm>
            <a:off x="532677" y="407288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6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7791903-0EC0-6746-9CDF-71B2319F9D4F}"/>
              </a:ext>
            </a:extLst>
          </p:cNvPr>
          <p:cNvSpPr/>
          <p:nvPr/>
        </p:nvSpPr>
        <p:spPr>
          <a:xfrm>
            <a:off x="532677" y="447599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2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7DC4244-E526-5342-9CC1-047DA981046F}"/>
              </a:ext>
            </a:extLst>
          </p:cNvPr>
          <p:cNvSpPr/>
          <p:nvPr/>
        </p:nvSpPr>
        <p:spPr>
          <a:xfrm>
            <a:off x="532677" y="487909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7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9B6D66F-6C79-304F-962B-D1CE2BCAC407}"/>
              </a:ext>
            </a:extLst>
          </p:cNvPr>
          <p:cNvSpPr/>
          <p:nvPr/>
        </p:nvSpPr>
        <p:spPr>
          <a:xfrm>
            <a:off x="532677" y="528220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3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45B22365-DC42-AF4E-8CF8-3B7E0D55595F}"/>
              </a:ext>
            </a:extLst>
          </p:cNvPr>
          <p:cNvSpPr/>
          <p:nvPr/>
        </p:nvSpPr>
        <p:spPr>
          <a:xfrm>
            <a:off x="2070647" y="165425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s on basic setup (categorical encodings only)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EAA2B6-C048-964C-B88C-B841BBA3851C}"/>
              </a:ext>
            </a:extLst>
          </p:cNvPr>
          <p:cNvSpPr/>
          <p:nvPr/>
        </p:nvSpPr>
        <p:spPr>
          <a:xfrm>
            <a:off x="2070647" y="205736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robust scaling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55725DA-4DA2-EE40-9A82-EA9DEAE9358D}"/>
              </a:ext>
            </a:extLst>
          </p:cNvPr>
          <p:cNvSpPr/>
          <p:nvPr/>
        </p:nvSpPr>
        <p:spPr>
          <a:xfrm>
            <a:off x="2070647" y="246046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equal frequency binning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7ADE7D4-36E3-3748-A929-B7297C808CAE}"/>
              </a:ext>
            </a:extLst>
          </p:cNvPr>
          <p:cNvSpPr/>
          <p:nvPr/>
        </p:nvSpPr>
        <p:spPr>
          <a:xfrm>
            <a:off x="2070647" y="286357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1 – 3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52CF005A-C1E0-074D-BCCE-2007EEA601A7}"/>
              </a:ext>
            </a:extLst>
          </p:cNvPr>
          <p:cNvSpPr/>
          <p:nvPr/>
        </p:nvSpPr>
        <p:spPr>
          <a:xfrm>
            <a:off x="2070647" y="326667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polynomial feature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6F20F4F-FC28-CD43-970C-918EEF5F9D17}"/>
              </a:ext>
            </a:extLst>
          </p:cNvPr>
          <p:cNvSpPr/>
          <p:nvPr/>
        </p:nvSpPr>
        <p:spPr>
          <a:xfrm>
            <a:off x="2070647" y="366978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NearMiss v3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722B6E-6535-FD48-83E3-EC4804CE1F48}"/>
              </a:ext>
            </a:extLst>
          </p:cNvPr>
          <p:cNvSpPr/>
          <p:nvPr/>
        </p:nvSpPr>
        <p:spPr>
          <a:xfrm>
            <a:off x="2070647" y="407288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2 + SMOTE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DC99A35-5279-AE40-9FC9-E8B911AE6BB6}"/>
              </a:ext>
            </a:extLst>
          </p:cNvPr>
          <p:cNvSpPr/>
          <p:nvPr/>
        </p:nvSpPr>
        <p:spPr>
          <a:xfrm>
            <a:off x="2070647" y="447599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4 – 6  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4479E09-925E-AB4A-92A4-BF81088FBDBE}"/>
              </a:ext>
            </a:extLst>
          </p:cNvPr>
          <p:cNvSpPr/>
          <p:nvPr/>
        </p:nvSpPr>
        <p:spPr>
          <a:xfrm>
            <a:off x="2070647" y="487909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nded model based on Evaluation 2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BAA9F9-59ED-F345-979E-AA175E418B4E}"/>
              </a:ext>
            </a:extLst>
          </p:cNvPr>
          <p:cNvGrpSpPr/>
          <p:nvPr/>
        </p:nvGrpSpPr>
        <p:grpSpPr>
          <a:xfrm>
            <a:off x="532678" y="2003888"/>
            <a:ext cx="6032598" cy="3236415"/>
            <a:chOff x="570777" y="2427489"/>
            <a:chExt cx="9578971" cy="3236415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E794C2-5682-1D4E-B69D-3A16B5295EC4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4274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50C6B497-3AB1-994D-87F7-4D10F743139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8305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5346D317-23A2-B545-BC46-2E16D1767DBB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24527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09E72430-36D3-3F42-B1C8-330C53A5F46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64837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41661DCA-1CEE-6F43-8F97-8866F21F37B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05148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C1AC4544-E1F8-4B4C-8DF6-E78B672E121E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4545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36EFA19-0DB4-3D47-B506-6C73A77362F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8576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508500A6-14F2-0A4B-99E7-E385D5E0C3A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26079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AA0A8EDA-2944-F64C-986A-BBD726BA15A7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66390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EF1CAEF3-867C-DC4A-9BC7-ABA030C86353}"/>
              </a:ext>
            </a:extLst>
          </p:cNvPr>
          <p:cNvGrpSpPr/>
          <p:nvPr/>
        </p:nvGrpSpPr>
        <p:grpSpPr>
          <a:xfrm>
            <a:off x="456477" y="1130596"/>
            <a:ext cx="1428618" cy="390875"/>
            <a:chOff x="2041269" y="1624719"/>
            <a:chExt cx="4744966" cy="390875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FA39ABE0-652F-7F40-B651-A8E53AA25647}"/>
                </a:ext>
              </a:extLst>
            </p:cNvPr>
            <p:cNvSpPr/>
            <p:nvPr/>
          </p:nvSpPr>
          <p:spPr>
            <a:xfrm>
              <a:off x="2041269" y="1624719"/>
              <a:ext cx="4508754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5BBD63E-CA1A-1449-96B3-87499DA735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82ED457-B5C6-1049-B598-BE2B8BA6F0E4}"/>
              </a:ext>
            </a:extLst>
          </p:cNvPr>
          <p:cNvCxnSpPr>
            <a:cxnSpLocks/>
          </p:cNvCxnSpPr>
          <p:nvPr/>
        </p:nvCxnSpPr>
        <p:spPr>
          <a:xfrm>
            <a:off x="515031" y="5634003"/>
            <a:ext cx="6066745" cy="0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88106F63-CE49-144E-9572-B382000C0384}"/>
              </a:ext>
            </a:extLst>
          </p:cNvPr>
          <p:cNvSpPr/>
          <p:nvPr/>
        </p:nvSpPr>
        <p:spPr>
          <a:xfrm>
            <a:off x="2070647" y="5257437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best model vs blended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13EB67B-C3E5-1B43-B902-6615259C4792}"/>
              </a:ext>
            </a:extLst>
          </p:cNvPr>
          <p:cNvSpPr/>
          <p:nvPr/>
        </p:nvSpPr>
        <p:spPr>
          <a:xfrm>
            <a:off x="532677" y="56912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8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EEFBDB1-0203-234D-AC03-E4C64D3045F2}"/>
              </a:ext>
            </a:extLst>
          </p:cNvPr>
          <p:cNvSpPr/>
          <p:nvPr/>
        </p:nvSpPr>
        <p:spPr>
          <a:xfrm>
            <a:off x="2070646" y="5691897"/>
            <a:ext cx="4609553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3 + NearMiss v3 (standalone model only)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821DBEF-A20F-FF4C-A8F0-535DE41CDB02}"/>
              </a:ext>
            </a:extLst>
          </p:cNvPr>
          <p:cNvCxnSpPr>
            <a:cxnSpLocks/>
          </p:cNvCxnSpPr>
          <p:nvPr/>
        </p:nvCxnSpPr>
        <p:spPr>
          <a:xfrm flipV="1">
            <a:off x="515031" y="6044558"/>
            <a:ext cx="6066745" cy="35608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>
            <a:extLst>
              <a:ext uri="{FF2B5EF4-FFF2-40B4-BE49-F238E27FC236}">
                <a16:creationId xmlns:a16="http://schemas.microsoft.com/office/drawing/2014/main" id="{DE864CA5-92BC-5D45-A171-F9256D9548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802" t="27263" r="19964" b="7703"/>
          <a:stretch/>
        </p:blipFill>
        <p:spPr>
          <a:xfrm>
            <a:off x="6811859" y="1574625"/>
            <a:ext cx="5070564" cy="4698464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41274172-1930-E74E-8714-FF81D94990F6}"/>
              </a:ext>
            </a:extLst>
          </p:cNvPr>
          <p:cNvGrpSpPr/>
          <p:nvPr/>
        </p:nvGrpSpPr>
        <p:grpSpPr>
          <a:xfrm>
            <a:off x="2172970" y="1126491"/>
            <a:ext cx="4408806" cy="390875"/>
            <a:chOff x="2294355" y="1624719"/>
            <a:chExt cx="4508755" cy="390875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806FBCF-8CCA-3E44-BE8A-5C41D6851734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etup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6EF7EA2-B731-4346-BD0D-1962A9D655DB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3657EE-1DF4-E346-BE89-0A63F651F5F8}"/>
              </a:ext>
            </a:extLst>
          </p:cNvPr>
          <p:cNvGrpSpPr/>
          <p:nvPr/>
        </p:nvGrpSpPr>
        <p:grpSpPr>
          <a:xfrm>
            <a:off x="7058443" y="1126491"/>
            <a:ext cx="4408806" cy="390875"/>
            <a:chOff x="2294355" y="1624719"/>
            <a:chExt cx="4508755" cy="390875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E770B56-E7B8-B64C-9F24-FD8B54FC8B12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Experiment flow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911E3E8B-24AD-FA4C-B4EA-7C4CF3CA6B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Title 1">
            <a:extLst>
              <a:ext uri="{FF2B5EF4-FFF2-40B4-BE49-F238E27FC236}">
                <a16:creationId xmlns:a16="http://schemas.microsoft.com/office/drawing/2014/main" id="{7468E617-69B8-3349-8E49-F02495789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848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Experiment design: Experiment flow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3B4B952-1034-7145-848F-D7F350E5B66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EED1289A-ED4A-0A4E-903F-B72EA63695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88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3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Naïve Bayes is the best performing 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6940351" cy="467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4" y="1501775"/>
            <a:ext cx="6941659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lgorithm performed the best across experiments (based on </a:t>
            </a:r>
            <a:r>
              <a:rPr lang="en-US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530616" y="1501140"/>
            <a:ext cx="420245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603854" y="2088387"/>
            <a:ext cx="4106067" cy="39259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ppears to be a strong baseline across all experiments. It performs well (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above 0.69) in 6 experiments with the best performance at 0.7186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emble method with soft voting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084 which is slightly lower than the best model (0.7186)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he best model among the 7th experiments remains Naïve Bayes with no specific treatments on class imbalance issue, another experiment (Experiment 8) was setup, and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e the highest </a:t>
            </a:r>
            <a:r>
              <a:rPr lang="en-US" sz="1400" b="1" i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.7267).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D9D0CBE2-64C0-D946-A876-F195D73F6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5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85AACF-B422-FC4D-8726-E88EADF12384}"/>
              </a:ext>
            </a:extLst>
          </p:cNvPr>
          <p:cNvSpPr/>
          <p:nvPr/>
        </p:nvSpPr>
        <p:spPr>
          <a:xfrm>
            <a:off x="79586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CCB0A7-11D1-8143-968E-06C70DBB829B}"/>
              </a:ext>
            </a:extLst>
          </p:cNvPr>
          <p:cNvSpPr/>
          <p:nvPr/>
        </p:nvSpPr>
        <p:spPr>
          <a:xfrm>
            <a:off x="145729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A97E33-ED4E-9742-9798-C5EF23EBB39C}"/>
              </a:ext>
            </a:extLst>
          </p:cNvPr>
          <p:cNvSpPr/>
          <p:nvPr/>
        </p:nvSpPr>
        <p:spPr>
          <a:xfrm>
            <a:off x="2162092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112FDF-A5BB-5E4C-A969-39C5904778F3}"/>
              </a:ext>
            </a:extLst>
          </p:cNvPr>
          <p:cNvSpPr/>
          <p:nvPr/>
        </p:nvSpPr>
        <p:spPr>
          <a:xfrm>
            <a:off x="2824490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3F3C58-0415-7340-8D19-7305D32553DF}"/>
              </a:ext>
            </a:extLst>
          </p:cNvPr>
          <p:cNvSpPr/>
          <p:nvPr/>
        </p:nvSpPr>
        <p:spPr>
          <a:xfrm>
            <a:off x="3530315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6AE24C-55EA-EF4E-B7D7-B0BC43F5C5B4}"/>
              </a:ext>
            </a:extLst>
          </p:cNvPr>
          <p:cNvSpPr/>
          <p:nvPr/>
        </p:nvSpPr>
        <p:spPr>
          <a:xfrm>
            <a:off x="4208679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F7B4C8-1A09-6F4D-B212-604951631080}"/>
              </a:ext>
            </a:extLst>
          </p:cNvPr>
          <p:cNvSpPr/>
          <p:nvPr/>
        </p:nvSpPr>
        <p:spPr>
          <a:xfrm>
            <a:off x="5059691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956AB26-059C-5C4A-A0B0-6514ED3D425F}"/>
              </a:ext>
            </a:extLst>
          </p:cNvPr>
          <p:cNvSpPr/>
          <p:nvPr/>
        </p:nvSpPr>
        <p:spPr>
          <a:xfrm>
            <a:off x="5897767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49B4DE-AF3A-1F42-97CF-D1F5D25401DC}"/>
              </a:ext>
            </a:extLst>
          </p:cNvPr>
          <p:cNvSpPr/>
          <p:nvPr/>
        </p:nvSpPr>
        <p:spPr>
          <a:xfrm>
            <a:off x="6735843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68E9AB-E386-0A48-9FC5-EF961576C43F}"/>
              </a:ext>
            </a:extLst>
          </p:cNvPr>
          <p:cNvSpPr/>
          <p:nvPr/>
        </p:nvSpPr>
        <p:spPr>
          <a:xfrm>
            <a:off x="7567392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B3325B-5BE8-5747-8607-4E6DFED81D8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F247BF3-35EE-1343-9627-81DE3FE49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6E7E34F-AE00-C643-8DEF-8C41DBE3CB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727" t="28354" r="21636" b="9764"/>
          <a:stretch/>
        </p:blipFill>
        <p:spPr>
          <a:xfrm>
            <a:off x="1040953" y="1987871"/>
            <a:ext cx="5549299" cy="460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4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6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000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OC-AUC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is good at both predicting cancellations and non-cancell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UC for class 1 (Canceled) is 0.76, indicating the model is reasonably good at distinguishing between canceled and non-canceled bookings. Ideally, a higher AUC would improve true cancellation detection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lass 0 (Not Canceled), the AUC is 0.82, suggesting the model is quite effective at identifying non-canceled bookings. While this is less critical for reducing type II errors, it still demonstrates good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icro-average AUC is 0.70, considering all classes together, and the macro-average AUC is 0.79, averaging the metric independently for each class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hort,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s well at both classifying cancellations and non-cancellation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BDCEFC-B02C-D34A-83F7-18DFE49563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492" y="1901825"/>
            <a:ext cx="5887460" cy="426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92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Learning curve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data can be beneficial for NB to perform consistent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raining score (blue line) starts high and slightly decreases, indicating the model initially fits the training data wel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esting score begins low and increases, showing the model gets better at predicting new data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ines converge around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75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, although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n't not show any signs of underfitting or overfitting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907C41-3E29-B04D-8E0A-FAEBF88859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283" y="2004820"/>
            <a:ext cx="5864618" cy="426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86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formance across training vs test s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performs better in the test set than in training on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aussian Naive Bayes Classifier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82 on the training set and 0.7525 on the test set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etter performance on the test set means that model performs better on this dataset, and hence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ood indication of generalizatio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3F7D922-97DC-944A-BFA7-AAEA78598F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8975"/>
          <a:stretch/>
        </p:blipFill>
        <p:spPr>
          <a:xfrm>
            <a:off x="460302" y="2417089"/>
            <a:ext cx="7022780" cy="7409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179ACE6-33A4-8641-8C5C-401D8C558B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975"/>
          <a:stretch/>
        </p:blipFill>
        <p:spPr>
          <a:xfrm>
            <a:off x="444063" y="3721425"/>
            <a:ext cx="7022780" cy="74097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473FF4-AFC7-664E-9DE1-CF6ECD320BD6}"/>
              </a:ext>
            </a:extLst>
          </p:cNvPr>
          <p:cNvSpPr/>
          <p:nvPr/>
        </p:nvSpPr>
        <p:spPr>
          <a:xfrm>
            <a:off x="454584" y="2151967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raining se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87463B-0A06-0242-B347-B8093E6534B9}"/>
              </a:ext>
            </a:extLst>
          </p:cNvPr>
          <p:cNvSpPr/>
          <p:nvPr/>
        </p:nvSpPr>
        <p:spPr>
          <a:xfrm>
            <a:off x="454584" y="3441189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est s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8F91E9-4BEB-5740-92C3-C0EE1944E699}"/>
              </a:ext>
            </a:extLst>
          </p:cNvPr>
          <p:cNvSpPr/>
          <p:nvPr/>
        </p:nvSpPr>
        <p:spPr>
          <a:xfrm>
            <a:off x="6668325" y="2536435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9AC5420-B947-F741-8159-751A843206DC}"/>
              </a:ext>
            </a:extLst>
          </p:cNvPr>
          <p:cNvSpPr/>
          <p:nvPr/>
        </p:nvSpPr>
        <p:spPr>
          <a:xfrm>
            <a:off x="6691711" y="3834229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67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2</TotalTime>
  <Words>1521</Words>
  <Application>Microsoft Macintosh PowerPoint</Application>
  <PresentationFormat>Widescreen</PresentationFormat>
  <Paragraphs>227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 Theme</vt:lpstr>
      <vt:lpstr>think-cell Slide</vt:lpstr>
      <vt:lpstr>Predicting Hotel Booking Cancellations to Minimize Revenue Loss due to False Negatives1</vt:lpstr>
      <vt:lpstr>PowerPoint Presentation</vt:lpstr>
      <vt:lpstr>Outline</vt:lpstr>
      <vt:lpstr>Experiment design: Experiment flow</vt:lpstr>
      <vt:lpstr>Naïve Bayes is the best performing model</vt:lpstr>
      <vt:lpstr>Outline</vt:lpstr>
      <vt:lpstr>ROC-AUC plot</vt:lpstr>
      <vt:lpstr>Learning curve plot</vt:lpstr>
      <vt:lpstr>Performance across training vs test sets</vt:lpstr>
      <vt:lpstr>Outline</vt:lpstr>
      <vt:lpstr>How the model (Naïve Bayes model) works</vt:lpstr>
      <vt:lpstr>Permutation importance</vt:lpstr>
      <vt:lpstr>Outline</vt:lpstr>
      <vt:lpstr>Implications</vt:lpstr>
      <vt:lpstr>Conclusions and 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the Number of Review: Exploring Review Patterns in Bangkok's Airbnb Landscape</dc:title>
  <dc:creator>Adelia Januarto</dc:creator>
  <cp:lastModifiedBy>Adelia Januarto</cp:lastModifiedBy>
  <cp:revision>24</cp:revision>
  <cp:lastPrinted>2024-04-30T13:07:30Z</cp:lastPrinted>
  <dcterms:created xsi:type="dcterms:W3CDTF">2024-04-25T07:54:25Z</dcterms:created>
  <dcterms:modified xsi:type="dcterms:W3CDTF">2024-05-26T10:44:29Z</dcterms:modified>
</cp:coreProperties>
</file>